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3" r:id="rId2"/>
    <p:sldMasterId id="2147483717" r:id="rId3"/>
    <p:sldMasterId id="2147483730" r:id="rId4"/>
    <p:sldMasterId id="2147483743" r:id="rId5"/>
    <p:sldMasterId id="2147483757" r:id="rId6"/>
    <p:sldMasterId id="2147483774" r:id="rId7"/>
  </p:sldMasterIdLst>
  <p:notesMasterIdLst>
    <p:notesMasterId r:id="rId9"/>
  </p:notesMasterIdLst>
  <p:sldIdLst>
    <p:sldId id="258" r:id="rId8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074" y="1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D496C963-D8DB-48A6-A44D-7F61C0C1124D}" type="datetimeFigureOut">
              <a:rPr lang="de-DE"/>
              <a:pPr>
                <a:defRPr/>
              </a:pPr>
              <a:t>25.06.201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e-DE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E75643B4-5758-4058-95DA-4A75669B2A89}" type="slidenum">
              <a:rPr lang="de-DE"/>
              <a:pPr>
                <a:defRPr/>
              </a:pPr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02405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11.emf"/><Relationship Id="rId5" Type="http://schemas.openxmlformats.org/officeDocument/2006/relationships/tags" Target="../tags/tag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image" Target="../media/image12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11" Type="http://schemas.openxmlformats.org/officeDocument/2006/relationships/image" Target="../media/image12.png"/><Relationship Id="rId5" Type="http://schemas.openxmlformats.org/officeDocument/2006/relationships/tags" Target="../tags/tag14.xml"/><Relationship Id="rId10" Type="http://schemas.openxmlformats.org/officeDocument/2006/relationships/image" Target="../media/image11.emf"/><Relationship Id="rId4" Type="http://schemas.openxmlformats.org/officeDocument/2006/relationships/tags" Target="../tags/tag13.xml"/><Relationship Id="rId9" Type="http://schemas.openxmlformats.org/officeDocument/2006/relationships/oleObject" Target="../embeddings/oleObject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5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pn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6.bin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6.xml"/><Relationship Id="rId7" Type="http://schemas.openxmlformats.org/officeDocument/2006/relationships/oleObject" Target="../embeddings/oleObject7.bin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7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8.bin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0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2.xml"/><Relationship Id="rId7" Type="http://schemas.openxmlformats.org/officeDocument/2006/relationships/oleObject" Target="../embeddings/oleObject9.bin"/><Relationship Id="rId2" Type="http://schemas.openxmlformats.org/officeDocument/2006/relationships/tags" Target="../tags/tag3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png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8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8.xml"/><Relationship Id="rId11" Type="http://schemas.openxmlformats.org/officeDocument/2006/relationships/image" Target="../media/image11.emf"/><Relationship Id="rId5" Type="http://schemas.openxmlformats.org/officeDocument/2006/relationships/tags" Target="../tags/tag37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36.xml"/><Relationship Id="rId9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1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5.xml"/><Relationship Id="rId11" Type="http://schemas.openxmlformats.org/officeDocument/2006/relationships/image" Target="../media/image11.emf"/><Relationship Id="rId5" Type="http://schemas.openxmlformats.org/officeDocument/2006/relationships/tags" Target="../tags/tag44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43.xml"/><Relationship Id="rId9" Type="http://schemas.openxmlformats.org/officeDocument/2006/relationships/image" Target="../media/image12.pn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1.xml"/><Relationship Id="rId11" Type="http://schemas.openxmlformats.org/officeDocument/2006/relationships/image" Target="../media/image12.png"/><Relationship Id="rId5" Type="http://schemas.openxmlformats.org/officeDocument/2006/relationships/tags" Target="../tags/tag50.xml"/><Relationship Id="rId10" Type="http://schemas.openxmlformats.org/officeDocument/2006/relationships/image" Target="../media/image11.emf"/><Relationship Id="rId4" Type="http://schemas.openxmlformats.org/officeDocument/2006/relationships/tags" Target="../tags/tag49.xml"/><Relationship Id="rId9" Type="http://schemas.openxmlformats.org/officeDocument/2006/relationships/oleObject" Target="../embeddings/oleObject12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ong title visua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ddCustomDate#1"/>
          <p:cNvSpPr txBox="1">
            <a:spLocks noChangeArrowheads="1"/>
          </p:cNvSpPr>
          <p:nvPr userDrawn="1"/>
        </p:nvSpPr>
        <p:spPr bwMode="auto">
          <a:xfrm>
            <a:off x="673100" y="5037138"/>
            <a:ext cx="9032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b="1" smtClean="0">
                <a:solidFill>
                  <a:srgbClr val="FFFFFF"/>
                </a:solidFill>
                <a:ea typeface="+mn-ea"/>
              </a:rPr>
              <a:t>08.07.2011</a:t>
            </a:r>
            <a:endParaRPr lang="nl-NL" sz="1000" b="1" smtClean="0">
              <a:solidFill>
                <a:srgbClr val="FFFFFF"/>
              </a:solidFill>
              <a:ea typeface="+mn-ea"/>
            </a:endParaRPr>
          </a:p>
        </p:txBody>
      </p:sp>
      <p:sp>
        <p:nvSpPr>
          <p:cNvPr id="6" name="TextBox 8"/>
          <p:cNvSpPr txBox="1">
            <a:spLocks noChangeArrowheads="1"/>
          </p:cNvSpPr>
          <p:nvPr userDrawn="1"/>
        </p:nvSpPr>
        <p:spPr bwMode="auto">
          <a:xfrm>
            <a:off x="4273550" y="6135688"/>
            <a:ext cx="3178175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prstClr val="black"/>
                </a:solidFill>
                <a:ea typeface="+mn-ea"/>
                <a:cs typeface="Arial" pitchFamily="34" charset="0"/>
              </a:rPr>
              <a:t>Your business technologists. </a:t>
            </a:r>
            <a:r>
              <a:rPr lang="en-US" sz="1000" b="1" dirty="0">
                <a:solidFill>
                  <a:prstClr val="black"/>
                </a:solidFill>
                <a:ea typeface="+mn-ea"/>
                <a:cs typeface="Arial" pitchFamily="34" charset="0"/>
              </a:rPr>
              <a:t>Powering progress</a:t>
            </a:r>
            <a:endParaRPr lang="nl-NL" sz="1000" b="1" dirty="0">
              <a:solidFill>
                <a:prstClr val="black"/>
              </a:solidFill>
              <a:ea typeface="+mn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070800"/>
            <a:ext cx="7920000" cy="1470025"/>
          </a:xfrm>
        </p:spPr>
        <p:txBody>
          <a:bodyPr>
            <a:noAutofit/>
          </a:bodyPr>
          <a:lstStyle>
            <a:lvl1pPr>
              <a:defRPr sz="7200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154400"/>
            <a:ext cx="7938000" cy="550800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6112" y="4600800"/>
            <a:ext cx="7938489" cy="431800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962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ED9C5A7-DE16-4B60-9347-F6DA5ED9198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49903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B8B0726-E511-4F31-8415-AE2F247C9485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95927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7963" y="1665288"/>
            <a:ext cx="4265612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975" y="1665288"/>
            <a:ext cx="4267200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C2C3389-5AF1-4ED9-BD8E-D0D1E7C8134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727824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0FE2EE1-9E65-4AE1-B220-DBF054DBE535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2531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3C4487A-52C9-4BD9-B04B-59CA2C4868BB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747356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7FB5883-D75D-4C4C-9F69-86D17B30968F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538716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661E2CC-A0C1-4B54-9F73-3481942323D2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1370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2290C89-8D84-4BC9-8C0F-65D0E1C0E3AC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38271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AED5C4A-67D7-4750-81F7-A2D493162D1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29188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8300" y="725488"/>
            <a:ext cx="2174875" cy="5080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" y="725488"/>
            <a:ext cx="6375400" cy="5080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4700756-6CAF-40BF-AECF-1638230CAD9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2559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ong titl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L07021\Pictures\Visuals PPT\Title Slide\AT_Text onl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3175"/>
            <a:ext cx="9144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ubtitle 2"/>
          <p:cNvSpPr txBox="1">
            <a:spLocks/>
          </p:cNvSpPr>
          <p:nvPr userDrawn="1"/>
        </p:nvSpPr>
        <p:spPr>
          <a:xfrm>
            <a:off x="647700" y="3689350"/>
            <a:ext cx="7920038" cy="433388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Lucida Sans Unicode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Aft>
                <a:spcPts val="0"/>
              </a:spcAft>
              <a:buClr>
                <a:srgbClr val="0066A1"/>
              </a:buClr>
              <a:defRPr/>
            </a:pPr>
            <a:r>
              <a:rPr lang="en-US" sz="3200" dirty="0" smtClean="0">
                <a:solidFill>
                  <a:srgbClr val="829DC7"/>
                </a:solidFill>
              </a:rPr>
              <a:t>Click to edit Master subtitle style</a:t>
            </a:r>
            <a:endParaRPr lang="nl-NL" sz="3200" dirty="0">
              <a:solidFill>
                <a:srgbClr val="829DC7"/>
              </a:solidFill>
            </a:endParaRPr>
          </a:p>
        </p:txBody>
      </p:sp>
      <p:sp>
        <p:nvSpPr>
          <p:cNvPr id="6" name="AddCustomDate#1"/>
          <p:cNvSpPr txBox="1">
            <a:spLocks noChangeArrowheads="1"/>
          </p:cNvSpPr>
          <p:nvPr userDrawn="1"/>
        </p:nvSpPr>
        <p:spPr bwMode="auto">
          <a:xfrm>
            <a:off x="673100" y="4154488"/>
            <a:ext cx="98266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b="1" smtClean="0">
                <a:solidFill>
                  <a:srgbClr val="FFFFFF"/>
                </a:solidFill>
                <a:ea typeface="+mn-ea"/>
              </a:rPr>
              <a:t>dd-mm-yyyy</a:t>
            </a:r>
            <a:endParaRPr lang="nl-NL" sz="1000" b="1" smtClean="0">
              <a:solidFill>
                <a:srgbClr val="FFFFFF"/>
              </a:solidFill>
              <a:ea typeface="+mn-ea"/>
            </a:endParaRPr>
          </a:p>
        </p:txBody>
      </p:sp>
      <p:sp>
        <p:nvSpPr>
          <p:cNvPr id="7" name="TextBox 8"/>
          <p:cNvSpPr txBox="1">
            <a:spLocks noChangeArrowheads="1"/>
          </p:cNvSpPr>
          <p:nvPr userDrawn="1"/>
        </p:nvSpPr>
        <p:spPr bwMode="auto">
          <a:xfrm>
            <a:off x="207963" y="6181725"/>
            <a:ext cx="3179762" cy="24606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solidFill>
                  <a:prstClr val="black"/>
                </a:solidFill>
                <a:ea typeface="+mn-ea"/>
                <a:cs typeface="Arial" pitchFamily="34" charset="0"/>
              </a:rPr>
              <a:t>Your business technologists. </a:t>
            </a:r>
            <a:r>
              <a:rPr lang="en-US" sz="1000" b="1" dirty="0">
                <a:solidFill>
                  <a:prstClr val="black"/>
                </a:solidFill>
                <a:ea typeface="+mn-ea"/>
                <a:cs typeface="Arial" pitchFamily="34" charset="0"/>
              </a:rPr>
              <a:t>Powering progress</a:t>
            </a:r>
            <a:endParaRPr lang="nl-NL" sz="1000" b="1" dirty="0">
              <a:solidFill>
                <a:prstClr val="black"/>
              </a:solidFill>
              <a:ea typeface="+mn-ea"/>
              <a:cs typeface="Arial" pitchFamily="34" charset="0"/>
            </a:endParaRPr>
          </a:p>
        </p:txBody>
      </p:sp>
      <p:sp>
        <p:nvSpPr>
          <p:cNvPr id="8" name="AddClassification"/>
          <p:cNvSpPr txBox="1">
            <a:spLocks noChangeArrowheads="1"/>
          </p:cNvSpPr>
          <p:nvPr userDrawn="1"/>
        </p:nvSpPr>
        <p:spPr bwMode="auto">
          <a:xfrm>
            <a:off x="4572000" y="6181725"/>
            <a:ext cx="1125538" cy="24606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prstClr val="black"/>
                </a:solidFill>
                <a:ea typeface="+mn-ea"/>
                <a:cs typeface="Arial" pitchFamily="34" charset="0"/>
              </a:rPr>
              <a:t>© Confidential</a:t>
            </a:r>
            <a:endParaRPr lang="nl-NL" sz="1000" b="1" dirty="0">
              <a:solidFill>
                <a:prstClr val="black"/>
              </a:solidFill>
              <a:ea typeface="+mn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5200" y="2131200"/>
            <a:ext cx="7920000" cy="1470025"/>
          </a:xfrm>
        </p:spPr>
        <p:txBody>
          <a:bodyPr>
            <a:noAutofit/>
          </a:bodyPr>
          <a:lstStyle>
            <a:lvl1pPr>
              <a:defRPr sz="7200"/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3286800"/>
            <a:ext cx="7920000" cy="550800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845333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CB69C01-90DA-49D1-B648-4D0A315F4DDC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12977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55498F8-8919-461C-A912-7F83DDB268FC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311842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F36D04D-9699-401F-9CC0-BCAB2B58340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2360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1675" y="1600200"/>
            <a:ext cx="2730500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4575" y="1600200"/>
            <a:ext cx="2732088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A59FE84-AA8C-4345-8AB0-53DDE81E02B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932027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0304C81-89E2-4DF8-9A66-2FE2DC930F95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172047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9412925-4958-40FB-8E67-F01746336582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13880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C2E3819-6D00-42DA-B98D-6E83522391F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796969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D623BC0-EF9B-4E2E-95BC-6BC23AAC86BD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11602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F82729F-2438-4300-BF15-271426AD2478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3019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E1920DA-049A-4B23-AC8B-C3E61C883F6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37459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 line top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916832"/>
            <a:ext cx="8686800" cy="414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14911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4013" y="725488"/>
            <a:ext cx="2170112" cy="5014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" y="725488"/>
            <a:ext cx="6361113" cy="5014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A148CC1-28ED-4CC7-821C-6B4519C654BE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137654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725488"/>
            <a:ext cx="8683625" cy="358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1675" y="1600200"/>
            <a:ext cx="2730500" cy="4140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4575" y="1600200"/>
            <a:ext cx="2732088" cy="4140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90F001C-AB60-47A0-B3E8-E0AA07A694AF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076031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B400583-5601-4F61-AD16-8975FC3FAB8D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02431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5E30DCE-0B15-4AE5-AAD0-F8C74C0ED50E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067690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63ADC6D-B663-4434-851F-FCE9CE0F1AA8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84206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7963" y="1600200"/>
            <a:ext cx="4265612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975" y="1600200"/>
            <a:ext cx="4267200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6605A24-D10D-44BC-A0D2-040A40F280D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791187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BF0A420-C6A1-4027-9805-4DB358FBBEA4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68631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C8332CE-2AD3-498C-A7C2-DA43B72F2469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39009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3E54203-0F7D-4DF6-A012-CB2899B52C0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917873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959852A-52D2-4F39-8085-AB835C945F31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35337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ack line top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6DF180A-44B2-46F4-806E-BD8D663EE263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56914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A66DE72-435A-4EBA-84E9-CB3B56857A28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4202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D8506D6-E659-492D-A99E-EB7FE52BC47D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52661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8300" y="725488"/>
            <a:ext cx="2174875" cy="5014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" y="725488"/>
            <a:ext cx="6375400" cy="5014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BB9CF92-49B9-43A6-AA80-FB8941A16A95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00521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9"/>
          <p:cNvSpPr>
            <a:spLocks noChangeArrowheads="1"/>
          </p:cNvSpPr>
          <p:nvPr userDrawn="1"/>
        </p:nvSpPr>
        <p:spPr bwMode="auto">
          <a:xfrm>
            <a:off x="179388" y="6637338"/>
            <a:ext cx="279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0" hangingPunct="0"/>
            <a:fld id="{78F3C34B-2013-48E9-9E1C-22FA3986EC90}" type="slidenum">
              <a:rPr lang="en-GB" sz="900">
                <a:solidFill>
                  <a:srgbClr val="000000"/>
                </a:solidFill>
                <a:latin typeface="Arial" pitchFamily="34" charset="0"/>
              </a:rPr>
              <a:pPr eaLnBrk="0" hangingPunct="0"/>
              <a:t>‹N°›</a:t>
            </a:fld>
            <a:endParaRPr lang="en-GB" sz="9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AddCustomFooter#1"/>
          <p:cNvSpPr>
            <a:spLocks noChangeArrowheads="1"/>
          </p:cNvSpPr>
          <p:nvPr userDrawn="1"/>
        </p:nvSpPr>
        <p:spPr bwMode="auto">
          <a:xfrm>
            <a:off x="587375" y="6634163"/>
            <a:ext cx="51371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sz="900" b="1">
                <a:solidFill>
                  <a:srgbClr val="000000"/>
                </a:solidFill>
                <a:latin typeface="Lucida Sans" pitchFamily="34" charset="0"/>
              </a:rPr>
              <a:t>SAP</a:t>
            </a:r>
            <a:r>
              <a:rPr lang="en-US" sz="900">
                <a:solidFill>
                  <a:srgbClr val="000000"/>
                </a:solidFill>
                <a:latin typeface="Lucida Sans" pitchFamily="34" charset="0"/>
              </a:rPr>
              <a:t> – Innovative end-to-end solutions built around you</a:t>
            </a:r>
            <a:endParaRPr lang="en-GB" sz="900">
              <a:solidFill>
                <a:srgbClr val="000000"/>
              </a:solidFill>
              <a:latin typeface="Lucida Sans" pitchFamily="34" charset="0"/>
            </a:endParaRPr>
          </a:p>
        </p:txBody>
      </p:sp>
      <p:pic>
        <p:nvPicPr>
          <p:cNvPr id="6" name="Picture 11" descr="advance_arrows_pms19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3938" y="6621463"/>
            <a:ext cx="1365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7"/>
          <p:cNvSpPr txBox="1">
            <a:spLocks noChangeArrowheads="1"/>
          </p:cNvSpPr>
          <p:nvPr userDrawn="1"/>
        </p:nvSpPr>
        <p:spPr bwMode="auto">
          <a:xfrm>
            <a:off x="7000875" y="6567488"/>
            <a:ext cx="165100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nl-BE" sz="900" smtClean="0">
                <a:solidFill>
                  <a:srgbClr val="000000"/>
                </a:solidFill>
                <a:latin typeface="Arial" pitchFamily="34" charset="0"/>
                <a:ea typeface="+mn-ea"/>
              </a:rPr>
              <a:t>www.atosorigin.com</a:t>
            </a:r>
            <a:endParaRPr lang="en-US" sz="900" smtClean="0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0001" y="612000"/>
            <a:ext cx="5806555" cy="540000"/>
          </a:xfrm>
        </p:spPr>
        <p:txBody>
          <a:bodyPr lIns="0" tIns="0" rIns="0" bIns="0" anchor="t">
            <a:noAutofit/>
          </a:bodyPr>
          <a:lstStyle>
            <a:lvl1pPr algn="l">
              <a:defRPr sz="2400"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60001" y="1524667"/>
            <a:ext cx="5806555" cy="461366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68288" indent="-268288">
              <a:spcBef>
                <a:spcPts val="0"/>
              </a:spcBef>
              <a:buClr>
                <a:srgbClr val="CD003A"/>
              </a:buClr>
              <a:buFont typeface="Arial" pitchFamily="34" charset="0"/>
              <a:buChar char="»"/>
              <a:defRPr sz="1200">
                <a:latin typeface="Arial"/>
                <a:cs typeface="Arial"/>
              </a:defRPr>
            </a:lvl1pPr>
            <a:lvl2pPr marL="352425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D003A"/>
              </a:buClr>
              <a:buSzTx/>
              <a:buFont typeface="Arial"/>
              <a:buNone/>
              <a:tabLst/>
              <a:defRPr sz="1200">
                <a:latin typeface="Arial"/>
                <a:cs typeface="Arial"/>
              </a:defRPr>
            </a:lvl2pPr>
            <a:lvl3pPr marL="804863" indent="-184150">
              <a:buClr>
                <a:srgbClr val="CD003A"/>
              </a:buClr>
              <a:defRPr sz="1200"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883246869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BC39C0B-2DBF-4C69-AF1A-281031F60603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54798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0826308-C2A9-41C1-98A9-FFEE8B5EF37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69804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952F94E-EFF2-4529-B4B8-AA9AE1C9D7CF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333970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1675" y="1600200"/>
            <a:ext cx="2730500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24575" y="1600200"/>
            <a:ext cx="2732088" cy="4140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642D8D2-3091-4E8C-A657-0A6589EBBAD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82046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2CA35F6-B45A-4929-B18E-BC91A04ED17E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24966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349AFC2-E4CF-4F29-9C6A-7694EB5FF409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85096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visual left 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6000" y="1600200"/>
            <a:ext cx="5616000" cy="414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91600" y="1605600"/>
            <a:ext cx="2808000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EC0335FA-7E0D-4E76-A794-7ED454994DCC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085745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933C872-F424-4666-8C65-2F2D456FF814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64740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B730F81-AE0B-46C0-ADB1-96F710C6FD39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73044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748677B-4BD4-43B3-BFF7-1D4B42AFC77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12829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73F8871-7BAA-425D-8D1E-37C2544086CB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3727258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4013" y="725488"/>
            <a:ext cx="2170112" cy="5014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" y="725488"/>
            <a:ext cx="6361113" cy="5014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6884981-BC07-4AC5-A7F4-0F1AFB4595F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045033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725488"/>
            <a:ext cx="8683625" cy="358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1675" y="1600200"/>
            <a:ext cx="2730500" cy="4140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4575" y="1600200"/>
            <a:ext cx="2732088" cy="4140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21AEAA1-F2B3-4795-828B-29324C5D499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05878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ng title visual"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8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7963" y="6299200"/>
            <a:ext cx="31496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Your business technologists. </a:t>
            </a:r>
            <a:r>
              <a:rPr lang="en-US" sz="1000" b="1">
                <a:solidFill>
                  <a:prstClr val="black"/>
                </a:solidFill>
                <a:ea typeface="+mn-ea"/>
                <a:cs typeface="Arial" charset="0"/>
              </a:rPr>
              <a:t>Powering progress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0" name="Text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6299200"/>
            <a:ext cx="10795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© Confidential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1" name="AddCustomDate#1"/>
          <p:cNvSpPr txBox="1"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673100" y="5035550"/>
            <a:ext cx="187166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nl-NL" sz="1000" b="1" smtClean="0">
                <a:solidFill>
                  <a:srgbClr val="FFFFFF"/>
                </a:solidFill>
                <a:ea typeface="+mn-ea"/>
              </a:rPr>
              <a:t>November, 2011</a:t>
            </a:r>
          </a:p>
        </p:txBody>
      </p:sp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648000" y="3070800"/>
            <a:ext cx="7920880" cy="1470025"/>
          </a:xfrm>
        </p:spPr>
        <p:txBody>
          <a:bodyPr>
            <a:noAutofit/>
          </a:bodyPr>
          <a:lstStyle>
            <a:lvl1pPr>
              <a:defRPr sz="72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4154400"/>
            <a:ext cx="7936602" cy="550912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6112" y="4600800"/>
            <a:ext cx="7938489" cy="431800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94922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ng titl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7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7963" y="6299200"/>
            <a:ext cx="31496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Your business technologists. </a:t>
            </a:r>
            <a:r>
              <a:rPr lang="en-US" sz="1000" b="1">
                <a:solidFill>
                  <a:prstClr val="black"/>
                </a:solidFill>
                <a:ea typeface="+mn-ea"/>
                <a:cs typeface="Arial" charset="0"/>
              </a:rPr>
              <a:t>Powering progress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9" name="TextBox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6299200"/>
            <a:ext cx="10795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© Confidential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0" name="AddCustomDate#1"/>
          <p:cNvSpPr txBox="1"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673100" y="4154488"/>
            <a:ext cx="1871663" cy="360362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nl-NL" sz="1000" smtClean="0">
                <a:solidFill>
                  <a:prstClr val="black"/>
                </a:solidFill>
              </a:rPr>
              <a:t>September, 2011</a:t>
            </a:r>
            <a:endParaRPr lang="nl-NL" sz="1000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654592" y="2130425"/>
            <a:ext cx="7920000" cy="1469862"/>
          </a:xfrm>
        </p:spPr>
        <p:txBody>
          <a:bodyPr>
            <a:noAutofit/>
          </a:bodyPr>
          <a:lstStyle>
            <a:lvl1pPr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3286800"/>
            <a:ext cx="7920000" cy="550912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46113" y="3690000"/>
            <a:ext cx="7920000" cy="431800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rgbClr val="829DC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02352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os Title and Text blue line top"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8"/>
          <p:cNvSpPr txBox="1">
            <a:spLocks noChangeArrowheads="1"/>
          </p:cNvSpPr>
          <p:nvPr userDrawn="1"/>
        </p:nvSpPr>
        <p:spPr bwMode="auto">
          <a:xfrm>
            <a:off x="377825" y="6245225"/>
            <a:ext cx="31496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en-US" sz="1000" dirty="0" smtClean="0">
                <a:solidFill>
                  <a:prstClr val="black"/>
                </a:solidFill>
              </a:rPr>
              <a:t>Your business technologists. </a:t>
            </a:r>
            <a:r>
              <a:rPr lang="en-US" sz="1000" b="1" dirty="0" smtClean="0">
                <a:solidFill>
                  <a:prstClr val="black"/>
                </a:solidFill>
              </a:rPr>
              <a:t>Powering progress</a:t>
            </a:r>
            <a:endParaRPr lang="nl-NL" sz="1000" b="1" dirty="0" smtClean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08488" y="1600201"/>
            <a:ext cx="8683992" cy="4140000"/>
          </a:xfrm>
          <a:noFill/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prstClr val="black"/>
                </a:solidFill>
                <a:latin typeface="Lucida Sans" pitchFamily="34" charset="0"/>
                <a:cs typeface="Arial" charset="0"/>
              </a:defRPr>
            </a:lvl1pPr>
          </a:lstStyle>
          <a:p>
            <a:pPr>
              <a:defRPr/>
            </a:pPr>
            <a:fld id="{E36DF9EF-8F82-4653-BB1E-9DE40A9822EF}" type="slidenum">
              <a:rPr lang="nl-NL"/>
              <a:pPr>
                <a:defRPr/>
              </a:pPr>
              <a:t>‹N°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88423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os Title and Text black line top"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ddCustomFooter#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08488" y="1600201"/>
            <a:ext cx="8683992" cy="4140000"/>
          </a:xfrm>
          <a:prstGeom prst="rect">
            <a:avLst/>
          </a:prstGeom>
          <a:noFill/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Lucida Sans" pitchFamily="34" charset="0"/>
              </a:defRPr>
            </a:lvl1pPr>
          </a:lstStyle>
          <a:p>
            <a:pPr>
              <a:defRPr/>
            </a:pPr>
            <a:fld id="{D0F71DE6-6838-4168-A38F-47CC51841A51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947651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visual right 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800" y="1600200"/>
            <a:ext cx="5623200" cy="414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012000" y="1605600"/>
            <a:ext cx="2808000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366594A5-2DE3-4283-AD90-AE2E4001FB66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243730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os Title and Text visual left side"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275856" y="1600201"/>
            <a:ext cx="5616624" cy="4140000"/>
          </a:xfrm>
          <a:noFill/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7"/>
          </p:nvPr>
        </p:nvSpPr>
        <p:spPr>
          <a:xfrm>
            <a:off x="290397" y="1606473"/>
            <a:ext cx="2808288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Lucida Sans" pitchFamily="34" charset="0"/>
              </a:defRPr>
            </a:lvl1pPr>
          </a:lstStyle>
          <a:p>
            <a:pPr>
              <a:defRPr/>
            </a:pPr>
            <a:fld id="{D8742A48-25BE-49FE-8139-2E243DB6E6A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965713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os Title and Text visual right side"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08488" y="1600201"/>
            <a:ext cx="5623600" cy="4140000"/>
          </a:xfrm>
          <a:noFill/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7"/>
          </p:nvPr>
        </p:nvSpPr>
        <p:spPr>
          <a:xfrm>
            <a:off x="6011863" y="1605600"/>
            <a:ext cx="2808287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Lucida Sans" pitchFamily="34" charset="0"/>
              </a:defRPr>
            </a:lvl1pPr>
          </a:lstStyle>
          <a:p>
            <a:pPr>
              <a:defRPr/>
            </a:pPr>
            <a:fld id="{BAE2DAE9-AF3E-494F-9189-18FD8740A905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54820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os 2 column Title and Text visual left side"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38906" y="1600201"/>
            <a:ext cx="4253573" cy="4140000"/>
          </a:xfrm>
          <a:noFill/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7"/>
          </p:nvPr>
        </p:nvSpPr>
        <p:spPr>
          <a:xfrm>
            <a:off x="291600" y="1605600"/>
            <a:ext cx="4103688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Lucida Sans" pitchFamily="34" charset="0"/>
              </a:defRPr>
            </a:lvl1pPr>
          </a:lstStyle>
          <a:p>
            <a:pPr>
              <a:defRPr/>
            </a:pPr>
            <a:fld id="{62809EE2-8BB2-4863-A30A-4D3EE0F89F7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509263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os 2 column Title and Text visual right side"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08488" y="1600201"/>
            <a:ext cx="4263151" cy="4140000"/>
          </a:xfrm>
          <a:noFill/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7"/>
          </p:nvPr>
        </p:nvSpPr>
        <p:spPr>
          <a:xfrm>
            <a:off x="4716463" y="1605600"/>
            <a:ext cx="4103687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Lucida Sans" pitchFamily="34" charset="0"/>
              </a:defRPr>
            </a:lvl1pPr>
          </a:lstStyle>
          <a:p>
            <a:pPr>
              <a:defRPr/>
            </a:pPr>
            <a:fld id="{7CD363C5-0E6A-4661-90AB-A816EA0F852B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655794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6" name="Picture 8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ubtitle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01625" y="5084763"/>
            <a:ext cx="32004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20000"/>
              </a:spcBef>
              <a:buFont typeface="Lucida Sans" pitchFamily="34" charset="0"/>
              <a:buNone/>
              <a:defRPr/>
            </a:pPr>
            <a:r>
              <a:rPr lang="en-US" sz="1400" smtClean="0">
                <a:solidFill>
                  <a:srgbClr val="FFFFFF"/>
                </a:solidFill>
                <a:ea typeface="+mn-ea"/>
              </a:rPr>
              <a:t>www.atos.net</a:t>
            </a:r>
            <a:endParaRPr lang="nl-NL" sz="1400" smtClean="0">
              <a:solidFill>
                <a:srgbClr val="FFFFFF"/>
              </a:solidFill>
              <a:ea typeface="+mn-ea"/>
            </a:endParaRPr>
          </a:p>
        </p:txBody>
      </p:sp>
      <p:sp>
        <p:nvSpPr>
          <p:cNvPr id="8" name="TextBox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7963" y="6299200"/>
            <a:ext cx="31496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Your business technologists. </a:t>
            </a:r>
            <a:r>
              <a:rPr lang="en-US" sz="1000" b="1">
                <a:solidFill>
                  <a:prstClr val="black"/>
                </a:solidFill>
                <a:ea typeface="+mn-ea"/>
                <a:cs typeface="Arial" charset="0"/>
              </a:rPr>
              <a:t>Powering progress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9" name="TextBox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72000" y="6299200"/>
            <a:ext cx="10795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© Confidential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0" name="AddNotifier#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50825" y="5661025"/>
            <a:ext cx="6862763" cy="5810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800" smtClean="0">
                <a:solidFill>
                  <a:prstClr val="black"/>
                </a:solidFill>
                <a:ea typeface="+mn-ea"/>
                <a:cs typeface="Arial" charset="0"/>
              </a:rPr>
              <a:t>Atos, the Atos logo, Atos Consulting, Atos Worldline, Atos Sphere, Atos Cloud and Atos WorldGrid</a:t>
            </a:r>
          </a:p>
          <a:p>
            <a:pPr>
              <a:defRPr/>
            </a:pPr>
            <a:r>
              <a:rPr lang="en-US" sz="800" smtClean="0">
                <a:solidFill>
                  <a:prstClr val="black"/>
                </a:solidFill>
                <a:ea typeface="+mn-ea"/>
                <a:cs typeface="Arial" charset="0"/>
              </a:rPr>
              <a:t>are registered trademarks of Atos SA. June 2011</a:t>
            </a:r>
          </a:p>
          <a:p>
            <a:pPr>
              <a:defRPr/>
            </a:pPr>
            <a:r>
              <a:rPr lang="en-US" sz="800" smtClean="0">
                <a:solidFill>
                  <a:prstClr val="black"/>
                </a:solidFill>
                <a:ea typeface="+mn-ea"/>
                <a:cs typeface="Arial" charset="0"/>
              </a:rPr>
              <a:t>© 2011 Atos. Confidential information owned by Atos, to be used by the recipient only. This document, or any part of it, </a:t>
            </a:r>
          </a:p>
          <a:p>
            <a:pPr>
              <a:defRPr/>
            </a:pPr>
            <a:r>
              <a:rPr lang="en-US" sz="800" smtClean="0">
                <a:solidFill>
                  <a:prstClr val="black"/>
                </a:solidFill>
                <a:ea typeface="+mn-ea"/>
                <a:cs typeface="Arial" charset="0"/>
              </a:rPr>
              <a:t>may not be reproduced, copied, circulated and/or distributed nor quoted without prior written approval from Atos.</a:t>
            </a:r>
            <a:endParaRPr lang="nl-NL" sz="800" dirty="0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3419872" y="1268761"/>
            <a:ext cx="5155600" cy="1152128"/>
          </a:xfrm>
        </p:spPr>
        <p:txBody>
          <a:bodyPr>
            <a:no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19872" y="3382144"/>
            <a:ext cx="5080294" cy="1902758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759095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hort title visual"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7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7963" y="6299200"/>
            <a:ext cx="31496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Your business technologists. </a:t>
            </a:r>
            <a:r>
              <a:rPr lang="en-US" sz="1000" b="1">
                <a:solidFill>
                  <a:prstClr val="black"/>
                </a:solidFill>
                <a:ea typeface="+mn-ea"/>
                <a:cs typeface="Arial" charset="0"/>
              </a:rPr>
              <a:t>Powering progress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9" name="TextBox 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6299200"/>
            <a:ext cx="10795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© Confidential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0" name="AddCustomDate#1"/>
          <p:cNvSpPr txBox="1"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658813" y="5126038"/>
            <a:ext cx="2771775" cy="3905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nl-NL" sz="1000" smtClean="0">
                <a:solidFill>
                  <a:prstClr val="black"/>
                </a:solidFill>
              </a:rPr>
              <a:t>September, 2011</a:t>
            </a:r>
            <a:endParaRPr lang="nl-NL" sz="1000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654593" y="2780929"/>
            <a:ext cx="4605896" cy="1368151"/>
          </a:xfrm>
        </p:spPr>
        <p:txBody>
          <a:bodyPr>
            <a:noAutofit/>
          </a:bodyPr>
          <a:lstStyle>
            <a:lvl1pPr>
              <a:defRPr sz="124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1295" y="4174456"/>
            <a:ext cx="4587679" cy="550912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46114" y="4652813"/>
            <a:ext cx="4592848" cy="360363"/>
          </a:xfrm>
        </p:spPr>
        <p:txBody>
          <a:bodyPr>
            <a:noAutofit/>
          </a:bodyPr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39548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short titl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ddCustomFooter#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| dd-mm-yyyy | Author 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gion | Sector | Division | Department 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pic>
        <p:nvPicPr>
          <p:cNvPr id="8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7963" y="6299200"/>
            <a:ext cx="31496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Your business technologists. </a:t>
            </a:r>
            <a:r>
              <a:rPr lang="en-US" sz="1000" b="1">
                <a:solidFill>
                  <a:prstClr val="black"/>
                </a:solidFill>
                <a:ea typeface="+mn-ea"/>
                <a:cs typeface="Arial" charset="0"/>
              </a:rPr>
              <a:t>Powering progress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0" name="Text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6299200"/>
            <a:ext cx="1079500" cy="244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prstClr val="black"/>
                </a:solidFill>
                <a:ea typeface="+mn-ea"/>
                <a:cs typeface="Arial" charset="0"/>
              </a:rPr>
              <a:t>© Confidential</a:t>
            </a:r>
            <a:endParaRPr lang="nl-NL" sz="1000" b="1">
              <a:solidFill>
                <a:prstClr val="black"/>
              </a:solidFill>
              <a:ea typeface="+mn-ea"/>
              <a:cs typeface="Arial" charset="0"/>
            </a:endParaRPr>
          </a:p>
        </p:txBody>
      </p:sp>
      <p:sp>
        <p:nvSpPr>
          <p:cNvPr id="11" name="AddCustomDate#1"/>
          <p:cNvSpPr txBox="1"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2182813" y="4525963"/>
            <a:ext cx="2771775" cy="3905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7200" b="1" kern="120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>
              <a:defRPr/>
            </a:pPr>
            <a:r>
              <a:rPr lang="nl-NL" sz="1000" smtClean="0">
                <a:solidFill>
                  <a:prstClr val="black"/>
                </a:solidFill>
              </a:rPr>
              <a:t>September, 2011</a:t>
            </a:r>
            <a:endParaRPr lang="nl-NL" sz="1000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 noChangeAspect="1"/>
          </p:cNvSpPr>
          <p:nvPr>
            <p:ph type="ctrTitle"/>
          </p:nvPr>
        </p:nvSpPr>
        <p:spPr>
          <a:xfrm>
            <a:off x="2160000" y="2277032"/>
            <a:ext cx="4572240" cy="1440000"/>
          </a:xfrm>
        </p:spPr>
        <p:txBody>
          <a:bodyPr>
            <a:noAutofit/>
          </a:bodyPr>
          <a:lstStyle>
            <a:lvl1pPr algn="l">
              <a:defRPr sz="124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50425" y="3690000"/>
            <a:ext cx="4581816" cy="550912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829DC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145245" y="4077072"/>
            <a:ext cx="4586996" cy="576263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rgbClr val="829DC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032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os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7160" y="1453896"/>
            <a:ext cx="8750808" cy="4636008"/>
          </a:xfrm>
          <a:prstGeom prst="rect">
            <a:avLst/>
          </a:prstGeom>
        </p:spPr>
        <p:txBody>
          <a:bodyPr/>
          <a:lstStyle>
            <a:lvl1pPr>
              <a:buClr>
                <a:srgbClr val="0066A1"/>
              </a:buClr>
              <a:buFont typeface="Lucida Sans Unicode" pitchFamily="34" charset="0"/>
              <a:buChar char="▶"/>
              <a:defRPr lang="en-US" sz="1600" kern="1200" dirty="0" smtClean="0">
                <a:solidFill>
                  <a:srgbClr val="000000"/>
                </a:solidFill>
                <a:latin typeface="Verdana"/>
                <a:ea typeface="MS PGothic" pitchFamily="34" charset="-128"/>
                <a:cs typeface="Verdana"/>
              </a:defRPr>
            </a:lvl1pPr>
            <a:lvl2pPr>
              <a:defRPr lang="en-US" sz="1600" kern="1200" dirty="0" smtClean="0">
                <a:solidFill>
                  <a:srgbClr val="000000"/>
                </a:solidFill>
                <a:latin typeface="Verdana"/>
                <a:ea typeface="Arial" charset="0"/>
                <a:cs typeface="Verdana"/>
              </a:defRPr>
            </a:lvl2pPr>
            <a:lvl3pPr>
              <a:defRPr lang="en-US" sz="1600" kern="1200" dirty="0" smtClean="0">
                <a:solidFill>
                  <a:srgbClr val="000000"/>
                </a:solidFill>
                <a:latin typeface="Verdana"/>
                <a:ea typeface="Arial" charset="0"/>
                <a:cs typeface="Verdana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376238"/>
            <a:ext cx="6184900" cy="760412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</a:t>
            </a:r>
            <a:r>
              <a:rPr lang="en-US" dirty="0" smtClean="0"/>
              <a:t>style</a:t>
            </a:r>
            <a:endParaRPr lang="fr-FR" dirty="0"/>
          </a:p>
        </p:txBody>
      </p:sp>
      <p:sp>
        <p:nvSpPr>
          <p:cNvPr id="6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71F614F-C2F1-4DF4-9983-700A71B4B97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7" name="Date Placeholder 19"/>
          <p:cNvSpPr>
            <a:spLocks noGrp="1"/>
          </p:cNvSpPr>
          <p:nvPr>
            <p:ph type="dt" sz="half" idx="12"/>
          </p:nvPr>
        </p:nvSpPr>
        <p:spPr>
          <a:xfrm>
            <a:off x="6748463" y="384175"/>
            <a:ext cx="1189037" cy="274638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Jan 2012</a:t>
            </a:r>
            <a:endParaRPr lang="en-US" dirty="0"/>
          </a:p>
        </p:txBody>
      </p:sp>
      <p:sp>
        <p:nvSpPr>
          <p:cNvPr id="8" name="Footer Placeholder 2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r>
              <a:rPr lang="en-US"/>
              <a:t>GBU APAC SI SAP</a:t>
            </a:r>
          </a:p>
        </p:txBody>
      </p:sp>
    </p:spTree>
    <p:extLst>
      <p:ext uri="{BB962C8B-B14F-4D97-AF65-F5344CB8AC3E}">
        <p14:creationId xmlns:p14="http://schemas.microsoft.com/office/powerpoint/2010/main" val="24152369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08800" y="1600200"/>
            <a:ext cx="8643937" cy="4329130"/>
          </a:xfrm>
          <a:prstGeom prst="rect">
            <a:avLst/>
          </a:prstGeom>
        </p:spPr>
        <p:txBody>
          <a:bodyPr/>
          <a:lstStyle>
            <a:lvl1pPr marR="0" indent="-2700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0066A1"/>
              </a:buClr>
              <a:buSzTx/>
              <a:tabLst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ucida Sans"/>
                <a:ea typeface="+mn-ea"/>
                <a:cs typeface="+mn-cs"/>
              </a:defRPr>
            </a:lvl1pPr>
            <a:lvl2pPr marR="0" indent="-2700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0066A1"/>
              </a:buClr>
              <a:buSzTx/>
              <a:tabLst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ucida Sans"/>
                <a:ea typeface="+mn-ea"/>
                <a:cs typeface="+mn-cs"/>
              </a:defRPr>
            </a:lvl2pPr>
            <a:lvl3pPr marR="0" indent="-2700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0066A1"/>
              </a:buClr>
              <a:buSzTx/>
              <a:tabLst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ucida Sans"/>
                <a:ea typeface="+mn-ea"/>
                <a:cs typeface="+mn-cs"/>
              </a:defRPr>
            </a:lvl3pPr>
            <a:lvl4pPr marR="0" indent="-2700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0066A1"/>
              </a:buClr>
              <a:buSzTx/>
              <a:tabLst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ucida Sans"/>
                <a:ea typeface="+mn-ea"/>
                <a:cs typeface="+mn-cs"/>
              </a:defRPr>
            </a:lvl4pPr>
            <a:lvl5pPr marR="0" indent="-2700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0066A1"/>
              </a:buClr>
              <a:buSzTx/>
              <a:tabLst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Lucida Sans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90500" y="725488"/>
            <a:ext cx="8686800" cy="402336"/>
          </a:xfrm>
          <a:prstGeom prst="rect">
            <a:avLst/>
          </a:prstGeom>
        </p:spPr>
        <p:txBody>
          <a:bodyPr/>
          <a:lstStyle>
            <a:lvl1pPr>
              <a:buNone/>
              <a:defRPr sz="2200" b="1">
                <a:latin typeface="Lucida Sans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90500" y="1142984"/>
            <a:ext cx="8686800" cy="402336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latin typeface="Lucida Sans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65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column visual left 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0400" y="1600200"/>
            <a:ext cx="4255200" cy="414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91600" y="1605600"/>
            <a:ext cx="4104000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428C5ED2-99BE-4DC6-AE5B-BC525323258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00501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 column visual right 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800" y="1600200"/>
            <a:ext cx="4262400" cy="414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716000" y="1605600"/>
            <a:ext cx="4104000" cy="4140000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nl-NL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C08984B6-AF78-4AC3-BE7A-752A5C9EB229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6622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760B60F-8F1C-4D1C-835A-31FEC72A56A8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72343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9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65.xml"/><Relationship Id="rId19" Type="http://schemas.openxmlformats.org/officeDocument/2006/relationships/image" Target="../media/image11.emf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90500" y="727075"/>
            <a:ext cx="86836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l-NL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09550" y="1600200"/>
            <a:ext cx="8686800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3675" y="6199188"/>
            <a:ext cx="63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5864B0A-5FE9-4FD5-A8FC-6A89893E35D0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/>
        </a:defRPr>
      </a:lvl9pPr>
    </p:titleStyle>
    <p:bodyStyle>
      <a:lvl1pPr marL="269875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Lucida Sans Unicode" pitchFamily="34" charset="0"/>
        <a:buChar char="▶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rtl="0" eaLnBrk="0" fontAlgn="base" hangingPunct="0">
        <a:spcBef>
          <a:spcPts val="388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AddCustomFooter#1"/>
          <p:cNvSpPr txBox="1">
            <a:spLocks noChangeArrowheads="1"/>
          </p:cNvSpPr>
          <p:nvPr/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defRPr/>
            </a:pP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       | 01-11-2011 | System Integration – Global SAP</a:t>
            </a:r>
          </a:p>
          <a:p>
            <a:pPr eaLnBrk="1" hangingPunct="1">
              <a:defRPr/>
            </a:pP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All Regions | All Sectors | All Divisions | All Departments</a:t>
            </a:r>
            <a:endParaRPr lang="nl-NL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190500" y="725488"/>
            <a:ext cx="868362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l-NL" smtClean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07963" y="1665288"/>
            <a:ext cx="8685212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smtClean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201613" y="6205538"/>
            <a:ext cx="6381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84780A15-424F-4E4B-B714-F098DA44E5FC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3" r:id="rId1"/>
    <p:sldLayoutId id="2147484304" r:id="rId2"/>
    <p:sldLayoutId id="2147484305" r:id="rId3"/>
    <p:sldLayoutId id="2147484306" r:id="rId4"/>
    <p:sldLayoutId id="2147484307" r:id="rId5"/>
    <p:sldLayoutId id="2147484308" r:id="rId6"/>
    <p:sldLayoutId id="2147484309" r:id="rId7"/>
    <p:sldLayoutId id="2147484310" r:id="rId8"/>
    <p:sldLayoutId id="2147484311" r:id="rId9"/>
    <p:sldLayoutId id="2147484312" r:id="rId10"/>
    <p:sldLayoutId id="214748431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ＭＳ Ｐゴシック" charset="-128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ＭＳ Ｐゴシック" charset="-128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ＭＳ Ｐゴシック" charset="-128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ＭＳ Ｐゴシック" charset="-128"/>
          <a:cs typeface="Arial" pitchFamily="34" charset="0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 Unicode" pitchFamily="34" charset="0"/>
        <a:buChar char="▶"/>
        <a:defRPr sz="16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539750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2pPr>
      <a:lvl3pPr marL="80962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4pPr>
      <a:lvl5pPr marL="13493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5pPr>
      <a:lvl6pPr marL="18065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6pPr>
      <a:lvl7pPr marL="22637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7pPr>
      <a:lvl8pPr marL="27209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8pPr>
      <a:lvl9pPr marL="31781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ea typeface="Arial" pitchFamily="34" charset="0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AddCustomFooter#1"/>
          <p:cNvSpPr txBox="1">
            <a:spLocks noChangeArrowheads="1"/>
          </p:cNvSpPr>
          <p:nvPr/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algn="ctr" eaLnBrk="0" hangingPunct="0"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      | dd-mm-yyyy</a:t>
            </a:r>
          </a:p>
          <a:p>
            <a:pPr algn="l"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ference &lt;Customer Name&gt;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190500" y="725488"/>
            <a:ext cx="868362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l-NL" smtClean="0"/>
          </a:p>
        </p:txBody>
      </p:sp>
      <p:sp>
        <p:nvSpPr>
          <p:cNvPr id="30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241675" y="1600200"/>
            <a:ext cx="5614988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smtClean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93675" y="6210300"/>
            <a:ext cx="63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>
                <a:solidFill>
                  <a:srgbClr val="000000"/>
                </a:solidFill>
                <a:latin typeface="Lucida Sans Unicode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96A7206-467B-4F5C-9E15-64ED16A14ED7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 Unicode" pitchFamily="34" charset="0"/>
        <a:buChar char="▶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962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3493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18065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2637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27209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1781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AddCustomFooter#1"/>
          <p:cNvSpPr txBox="1">
            <a:spLocks noChangeArrowheads="1"/>
          </p:cNvSpPr>
          <p:nvPr/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defRPr/>
            </a:pP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       | 01-11-2011 | System Integration – Global SAP</a:t>
            </a:r>
          </a:p>
          <a:p>
            <a:pPr eaLnBrk="1" hangingPunct="1">
              <a:defRPr/>
            </a:pP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All Regions | All Sectors | All Divisions | All Departments</a:t>
            </a:r>
            <a:endParaRPr lang="nl-NL" sz="10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190500" y="725488"/>
            <a:ext cx="868362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l-NL" smtClean="0"/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07963" y="1665288"/>
            <a:ext cx="8685212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smtClean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201613" y="6205538"/>
            <a:ext cx="6381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Lucida Sans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25F24E4F-1687-4239-9F6E-76C1D0843A49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6" r:id="rId1"/>
    <p:sldLayoutId id="2147484327" r:id="rId2"/>
    <p:sldLayoutId id="2147484328" r:id="rId3"/>
    <p:sldLayoutId id="2147484329" r:id="rId4"/>
    <p:sldLayoutId id="2147484330" r:id="rId5"/>
    <p:sldLayoutId id="2147484331" r:id="rId6"/>
    <p:sldLayoutId id="2147484332" r:id="rId7"/>
    <p:sldLayoutId id="2147484333" r:id="rId8"/>
    <p:sldLayoutId id="2147484334" r:id="rId9"/>
    <p:sldLayoutId id="2147484335" r:id="rId10"/>
    <p:sldLayoutId id="2147484336" r:id="rId11"/>
    <p:sldLayoutId id="214748433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ea typeface="MS PGothic" pitchFamily="34" charset="-128"/>
          <a:cs typeface="Arial" charset="0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 Unicode" pitchFamily="34" charset="0"/>
        <a:buChar char="▶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2pPr>
      <a:lvl3pPr marL="80962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4pPr>
      <a:lvl5pPr marL="13493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5pPr>
      <a:lvl6pPr marL="18065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6pPr>
      <a:lvl7pPr marL="22637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7pPr>
      <a:lvl8pPr marL="27209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8pPr>
      <a:lvl9pPr marL="31781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charset="0"/>
        <a:buChar char="»"/>
        <a:defRPr sz="1600"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AddCustomFooter#1"/>
          <p:cNvSpPr txBox="1">
            <a:spLocks noChangeArrowheads="1"/>
          </p:cNvSpPr>
          <p:nvPr/>
        </p:nvSpPr>
        <p:spPr bwMode="auto">
          <a:xfrm>
            <a:off x="190500" y="6253163"/>
            <a:ext cx="5759450" cy="396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ucida Sans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       | 01-11-2011</a:t>
            </a:r>
          </a:p>
          <a:p>
            <a:pPr eaLnBrk="1" hangingPunct="1">
              <a:defRPr/>
            </a:pPr>
            <a:r>
              <a:rPr lang="en-US" sz="1000" smtClean="0">
                <a:solidFill>
                  <a:srgbClr val="000000"/>
                </a:solidFill>
                <a:ea typeface="+mn-ea"/>
              </a:rPr>
              <a:t>Reference Arizona Chemicals</a:t>
            </a:r>
            <a:endParaRPr lang="nl-NL" sz="1000" smtClean="0">
              <a:solidFill>
                <a:srgbClr val="000000"/>
              </a:solidFill>
              <a:ea typeface="+mn-ea"/>
            </a:endParaRPr>
          </a:p>
        </p:txBody>
      </p:sp>
      <p:sp>
        <p:nvSpPr>
          <p:cNvPr id="5123" name="Title Placeholder 1"/>
          <p:cNvSpPr>
            <a:spLocks noGrp="1"/>
          </p:cNvSpPr>
          <p:nvPr>
            <p:ph type="title"/>
          </p:nvPr>
        </p:nvSpPr>
        <p:spPr bwMode="auto">
          <a:xfrm>
            <a:off x="190500" y="725488"/>
            <a:ext cx="868362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l-NL" smtClean="0"/>
          </a:p>
        </p:txBody>
      </p:sp>
      <p:sp>
        <p:nvSpPr>
          <p:cNvPr id="512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241675" y="1600200"/>
            <a:ext cx="5614988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smtClean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93675" y="6210300"/>
            <a:ext cx="6381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Lucida Sans Unicode" pitchFamily="34" charset="0"/>
                <a:ea typeface="+mn-ea"/>
              </a:defRPr>
            </a:lvl1pPr>
          </a:lstStyle>
          <a:p>
            <a:pPr>
              <a:defRPr/>
            </a:pPr>
            <a:fld id="{E329EC60-5E99-41AF-8E2C-E5353A29A9D4}" type="slidenum">
              <a:rPr lang="nl-NL"/>
              <a:pPr>
                <a:defRPr/>
              </a:pPr>
              <a:t>‹N°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48" r:id="rId11"/>
    <p:sldLayoutId id="214748434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Lucida Sans" pitchFamily="34" charset="0"/>
          <a:cs typeface="Arial" pitchFamily="34" charset="0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 Unicode" pitchFamily="34" charset="0"/>
        <a:buChar char="▶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80962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3493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18065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2637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27209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178175" indent="-268288" algn="l" rtl="0" fontAlgn="base">
        <a:spcBef>
          <a:spcPct val="20000"/>
        </a:spcBef>
        <a:spcAft>
          <a:spcPct val="0"/>
        </a:spcAft>
        <a:buClr>
          <a:srgbClr val="0065A2"/>
        </a:buClr>
        <a:buFont typeface="Arial" pitchFamily="34" charset="0"/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90500" y="725488"/>
            <a:ext cx="868362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l-NL" smtClean="0"/>
          </a:p>
        </p:txBody>
      </p:sp>
      <p:sp>
        <p:nvSpPr>
          <p:cNvPr id="6148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207963" y="1600200"/>
            <a:ext cx="8685212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193675" y="6210300"/>
            <a:ext cx="638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prstClr val="black"/>
                </a:solidFill>
                <a:latin typeface="Lucida Sans Unicode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88568E5D-BD93-4D3E-8CA5-2EA802F15CAA}" type="slidenum">
              <a:rPr lang="nl-NL"/>
              <a:pPr>
                <a:defRPr/>
              </a:pPr>
              <a:t>‹N°›</a:t>
            </a:fld>
            <a:endParaRPr lang="nl-NL" dirty="0"/>
          </a:p>
        </p:txBody>
      </p:sp>
      <p:sp>
        <p:nvSpPr>
          <p:cNvPr id="12" name="TextBox 8"/>
          <p:cNvSpPr txBox="1">
            <a:spLocks noChangeArrowheads="1"/>
          </p:cNvSpPr>
          <p:nvPr userDrawn="1"/>
        </p:nvSpPr>
        <p:spPr bwMode="auto">
          <a:xfrm>
            <a:off x="250825" y="6275388"/>
            <a:ext cx="3425825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>
              <a:defRPr/>
            </a:pPr>
            <a:r>
              <a:rPr lang="en-US" sz="1000" smtClean="0">
                <a:solidFill>
                  <a:prstClr val="black"/>
                </a:solidFill>
              </a:rPr>
              <a:t>Your business technologists. </a:t>
            </a:r>
            <a:r>
              <a:rPr lang="en-US" sz="1000" b="1" smtClean="0">
                <a:solidFill>
                  <a:prstClr val="black"/>
                </a:solidFill>
              </a:rPr>
              <a:t>Powering progress</a:t>
            </a:r>
            <a:endParaRPr lang="nl-NL" sz="1000" b="1" smtClean="0">
              <a:solidFill>
                <a:prstClr val="blac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356" r:id="rId7"/>
    <p:sldLayoutId id="2147484357" r:id="rId8"/>
    <p:sldLayoutId id="2147484358" r:id="rId9"/>
    <p:sldLayoutId id="2147484359" r:id="rId10"/>
    <p:sldLayoutId id="214748436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Lucida Sans" pitchFamily="34" charset="0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Lucida Sans Unicod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Lucida Sans Unicod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Lucida Sans Unicod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Lucida Sans Unicode" pitchFamily="34" charset="0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 Unicode" pitchFamily="34" charset="0"/>
        <a:buChar char="▶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39750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0962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349375" indent="-268288" algn="l" rtl="0" eaLnBrk="0" fontAlgn="base" hangingPunct="0">
        <a:spcBef>
          <a:spcPct val="20000"/>
        </a:spcBef>
        <a:spcAft>
          <a:spcPct val="0"/>
        </a:spcAft>
        <a:buClr>
          <a:srgbClr val="0065A2"/>
        </a:buClr>
        <a:buFont typeface="Lucida Sans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52413" y="252413"/>
            <a:ext cx="6445250" cy="90487"/>
          </a:xfrm>
          <a:prstGeom prst="rect">
            <a:avLst/>
          </a:prstGeom>
          <a:solidFill>
            <a:srgbClr val="0066A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53238" y="252413"/>
            <a:ext cx="2038350" cy="9048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2413" y="1252538"/>
            <a:ext cx="8640762" cy="1746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4800600" y="6537325"/>
            <a:ext cx="622300" cy="238125"/>
          </a:xfrm>
          <a:prstGeom prst="rect">
            <a:avLst/>
          </a:prstGeom>
        </p:spPr>
        <p:txBody>
          <a:bodyPr vert="horz" lIns="100584" tIns="45720" rIns="100584" bIns="45720" rtlCol="0" anchor="ctr"/>
          <a:lstStyle>
            <a:lvl1pPr algn="ctr">
              <a:defRPr sz="900">
                <a:solidFill>
                  <a:prstClr val="black"/>
                </a:solidFill>
                <a:latin typeface="Verdana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D08A9971-E42E-4E40-BEBB-D0FEEAB2219B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2"/>
          </p:nvPr>
        </p:nvSpPr>
        <p:spPr>
          <a:xfrm>
            <a:off x="6748463" y="384175"/>
            <a:ext cx="1192212" cy="274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/>
                </a:solidFill>
                <a:latin typeface="Verdana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Jan 2012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6757988" y="603250"/>
            <a:ext cx="2101850" cy="4667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>
                <a:solidFill>
                  <a:prstClr val="black"/>
                </a:solidFill>
                <a:latin typeface="Verdana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GBU APAC SI SAP</a:t>
            </a:r>
          </a:p>
        </p:txBody>
      </p:sp>
      <p:sp>
        <p:nvSpPr>
          <p:cNvPr id="7176" name="Rectangle 10"/>
          <p:cNvSpPr>
            <a:spLocks noChangeArrowheads="1"/>
          </p:cNvSpPr>
          <p:nvPr/>
        </p:nvSpPr>
        <p:spPr bwMode="auto">
          <a:xfrm>
            <a:off x="252413" y="6284913"/>
            <a:ext cx="8640762" cy="174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Lucida Sans" pitchFamily="34" charset="0"/>
              <a:cs typeface="Arial" pitchFamily="34" charset="0"/>
            </a:endParaRPr>
          </a:p>
        </p:txBody>
      </p:sp>
      <p:pic>
        <p:nvPicPr>
          <p:cNvPr id="7177" name="Picture 12" descr="ATOS_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113" y="6454775"/>
            <a:ext cx="7397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8" name="Picture 13" descr="Powering_Progress.pn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6572250"/>
            <a:ext cx="27432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fr-FR" sz="2400" b="1" kern="1200" dirty="0">
          <a:solidFill>
            <a:srgbClr val="000000"/>
          </a:solidFill>
          <a:latin typeface="Verdana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0000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>
          <a:xfrm>
            <a:off x="190500" y="727075"/>
            <a:ext cx="8683625" cy="614363"/>
          </a:xfrm>
        </p:spPr>
        <p:txBody>
          <a:bodyPr/>
          <a:lstStyle/>
          <a:p>
            <a:pPr eaLnBrk="1" hangingPunct="1"/>
            <a:r>
              <a:rPr lang="en-US" dirty="0" smtClean="0"/>
              <a:t>Cesar </a:t>
            </a:r>
            <a:r>
              <a:rPr lang="en-US" dirty="0" err="1" smtClean="0"/>
              <a:t>Mical</a:t>
            </a:r>
            <a:r>
              <a:rPr lang="en-US" dirty="0" smtClean="0"/>
              <a:t> – SAP </a:t>
            </a:r>
            <a:r>
              <a:rPr lang="en-US" dirty="0" smtClean="0"/>
              <a:t>MM Consultant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b="0" dirty="0" smtClean="0"/>
          </a:p>
        </p:txBody>
      </p:sp>
      <p:sp>
        <p:nvSpPr>
          <p:cNvPr id="77827" name="Rectangle 8"/>
          <p:cNvSpPr>
            <a:spLocks noChangeArrowheads="1"/>
          </p:cNvSpPr>
          <p:nvPr/>
        </p:nvSpPr>
        <p:spPr bwMode="auto">
          <a:xfrm>
            <a:off x="322263" y="3608388"/>
            <a:ext cx="4230687" cy="2413000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/>
          <a:lstStyle/>
          <a:p>
            <a:pPr marL="182563" indent="-182563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AP Modules / Processes</a:t>
            </a:r>
          </a:p>
          <a:p>
            <a:pPr marL="363538" lvl="1" indent="-182563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2P (MM, SRM, Ariba), Source-to-Contract (SAP Sourcing, CLM)</a:t>
            </a:r>
          </a:p>
          <a:p>
            <a:pPr marL="363538" lvl="1" indent="-182563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M Integration with FI, CO, PP, QM, WM, SD</a:t>
            </a:r>
          </a:p>
          <a:p>
            <a:pPr marL="182563" indent="-182563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chnical</a:t>
            </a:r>
          </a:p>
          <a:p>
            <a:pPr marL="363538" lvl="1" indent="-182563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BAP, SQL </a:t>
            </a:r>
          </a:p>
          <a:p>
            <a:pPr marL="182563" indent="-182563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thodical</a:t>
            </a:r>
          </a:p>
          <a:p>
            <a:pPr marL="363538" lvl="1" indent="-182563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AP customizing, prototyping and integration (conception, workshop, realization and support)</a:t>
            </a:r>
          </a:p>
          <a:p>
            <a:pPr marL="363538" lvl="1" indent="-182563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lution design/redesign (process, object, data modelling)</a:t>
            </a:r>
          </a:p>
          <a:p>
            <a:pPr marL="363538" lvl="1" indent="-182563"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t/gap analysis, template</a:t>
            </a:r>
          </a:p>
          <a:p>
            <a:pPr marL="182563" indent="-182563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ft Skills</a:t>
            </a:r>
          </a:p>
          <a:p>
            <a:pPr marL="363538" lvl="1" indent="-182563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anning and organizational methods, Analytical skills, </a:t>
            </a: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eam player</a:t>
            </a:r>
          </a:p>
          <a:p>
            <a:pPr marL="363538" indent="-182563">
              <a:spcAft>
                <a:spcPts val="300"/>
              </a:spcAft>
              <a:buFont typeface="Wingdings" pitchFamily="2" charset="2"/>
              <a:buChar char="§"/>
              <a:defRPr/>
            </a:pP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828" name="Rectangle 10"/>
          <p:cNvSpPr>
            <a:spLocks noChangeArrowheads="1"/>
          </p:cNvSpPr>
          <p:nvPr/>
        </p:nvSpPr>
        <p:spPr bwMode="auto">
          <a:xfrm>
            <a:off x="4589463" y="3609975"/>
            <a:ext cx="4230687" cy="2411413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0" bIns="36000"/>
          <a:lstStyle/>
          <a:p>
            <a:pPr marL="182563" indent="-182563">
              <a:buFont typeface="Wingdings" pitchFamily="2" charset="2"/>
              <a:buChar char="§"/>
            </a:pPr>
            <a:r>
              <a:rPr lang="en-GB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TAL: </a:t>
            </a:r>
            <a:r>
              <a:rPr lang="en-GB" sz="1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ata enrichment and migration (material, vendor, contracts, SRM and Ariba catalogues) in SAP, SRM and Ariba</a:t>
            </a:r>
          </a:p>
          <a:p>
            <a:pPr marL="182563" indent="-182563">
              <a:spcBef>
                <a:spcPts val="600"/>
              </a:spcBef>
              <a:buFont typeface="Wingdings" pitchFamily="2" charset="2"/>
              <a:buChar char="§"/>
            </a:pPr>
            <a:r>
              <a:rPr lang="en-GB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NOPRIX: </a:t>
            </a:r>
            <a:r>
              <a:rPr lang="en-GB" sz="1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AP Archiving solution design (FI, CO, MM, SD, LE), SAP Retail material listing process redesign</a:t>
            </a:r>
          </a:p>
          <a:p>
            <a:pPr marL="182563" indent="-182563">
              <a:spcBef>
                <a:spcPts val="600"/>
              </a:spcBef>
              <a:buFont typeface="Wingdings" pitchFamily="2" charset="2"/>
              <a:buChar char="§"/>
            </a:pPr>
            <a:r>
              <a:rPr lang="en-GB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ORG WARNER: </a:t>
            </a:r>
            <a:r>
              <a:rPr lang="en-GB" sz="1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M implementation (direct and indirect purchasing), Intrastat (import &amp; export) customization</a:t>
            </a:r>
          </a:p>
          <a:p>
            <a:pPr marL="182563" indent="-182563">
              <a:spcBef>
                <a:spcPts val="600"/>
              </a:spcBef>
              <a:buFont typeface="Wingdings" pitchFamily="2" charset="2"/>
              <a:buChar char="§"/>
            </a:pPr>
            <a:r>
              <a:rPr lang="en-GB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NAULT: </a:t>
            </a:r>
            <a:r>
              <a:rPr lang="en-GB" sz="1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AP solution design for manufactured vehicles, SAP solution redesign for part inventory and valuation management</a:t>
            </a:r>
          </a:p>
          <a:p>
            <a:pPr marL="182563" indent="-182563">
              <a:spcBef>
                <a:spcPts val="600"/>
              </a:spcBef>
              <a:buFont typeface="Wingdings" pitchFamily="2" charset="2"/>
              <a:buChar char="§"/>
            </a:pPr>
            <a:r>
              <a:rPr lang="en-GB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O TECHNOLOGIES: </a:t>
            </a:r>
            <a:r>
              <a:rPr lang="en-GB" sz="1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ject manager and SRM/MM consultant on logistics platform (for multimedia and utilities companies in Switzerland)</a:t>
            </a:r>
          </a:p>
          <a:p>
            <a:pPr marL="182563" indent="-182563">
              <a:spcBef>
                <a:spcPts val="600"/>
              </a:spcBef>
              <a:buFont typeface="Wingdings" pitchFamily="2" charset="2"/>
              <a:buChar char="§"/>
            </a:pPr>
            <a:r>
              <a:rPr lang="en-GB" sz="10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RITISH AMERICAN TOBACCO: </a:t>
            </a:r>
            <a:r>
              <a:rPr lang="en-GB" sz="1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AP Project manager (SRM implementation, SAP Workflow implementation for MM/FI invoice management, data and process standardization to Core model)</a:t>
            </a:r>
          </a:p>
          <a:p>
            <a:pPr marL="363538" lvl="1" indent="-182563">
              <a:spcAft>
                <a:spcPts val="300"/>
              </a:spcAft>
              <a:buFont typeface="Wingdings" pitchFamily="2" charset="2"/>
              <a:buChar char="§"/>
            </a:pPr>
            <a:endParaRPr lang="en-GB" sz="10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829" name="Rectangle 9"/>
          <p:cNvSpPr>
            <a:spLocks noChangeArrowheads="1"/>
          </p:cNvSpPr>
          <p:nvPr/>
        </p:nvSpPr>
        <p:spPr bwMode="auto">
          <a:xfrm>
            <a:off x="322263" y="3321050"/>
            <a:ext cx="4230687" cy="287338"/>
          </a:xfrm>
          <a:prstGeom prst="rect">
            <a:avLst/>
          </a:prstGeom>
          <a:solidFill>
            <a:srgbClr val="0066A2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0" rIns="0" bIns="0" anchor="ctr"/>
          <a:lstStyle/>
          <a:p>
            <a:r>
              <a:rPr lang="en-US" sz="1400">
                <a:solidFill>
                  <a:srgbClr val="FFFFFF"/>
                </a:solidFill>
                <a:latin typeface="Lucida Sans" pitchFamily="34" charset="0"/>
                <a:cs typeface="Arial" pitchFamily="34" charset="0"/>
              </a:rPr>
              <a:t>Professional Skills</a:t>
            </a:r>
          </a:p>
        </p:txBody>
      </p:sp>
      <p:sp>
        <p:nvSpPr>
          <p:cNvPr id="77830" name="Rectangle 12"/>
          <p:cNvSpPr>
            <a:spLocks noChangeArrowheads="1"/>
          </p:cNvSpPr>
          <p:nvPr/>
        </p:nvSpPr>
        <p:spPr bwMode="auto">
          <a:xfrm>
            <a:off x="1547813" y="1951038"/>
            <a:ext cx="7272337" cy="1331912"/>
          </a:xfrm>
          <a:prstGeom prst="rect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36000" rIns="72000" bIns="36000"/>
          <a:lstStyle/>
          <a:p>
            <a:pPr marL="1074738" indent="-1074738">
              <a:spcAft>
                <a:spcPts val="600"/>
              </a:spcAft>
              <a:tabLst>
                <a:tab pos="1074738" algn="l"/>
              </a:tabLst>
            </a:pPr>
            <a:r>
              <a:rPr lang="en-US" sz="1000" b="1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Skills:</a:t>
            </a:r>
            <a:r>
              <a:rPr lang="en-US" sz="1000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	SAP Functional Consultant, Business Analyst</a:t>
            </a:r>
          </a:p>
          <a:p>
            <a:pPr marL="1074738" indent="-1074738">
              <a:spcAft>
                <a:spcPts val="600"/>
              </a:spcAft>
              <a:tabLst>
                <a:tab pos="1074738" algn="l"/>
              </a:tabLst>
            </a:pPr>
            <a:r>
              <a:rPr lang="en-US" sz="1000" b="1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Industry:</a:t>
            </a:r>
            <a:r>
              <a:rPr lang="en-US" sz="1000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	Automotive, Oil, Pharmaceutical, Utilities, Retail, Public Sector</a:t>
            </a:r>
          </a:p>
          <a:p>
            <a:pPr marL="1074738" indent="-1074738">
              <a:spcAft>
                <a:spcPts val="600"/>
              </a:spcAft>
              <a:tabLst>
                <a:tab pos="1074738" algn="l"/>
              </a:tabLst>
            </a:pPr>
            <a:r>
              <a:rPr lang="en-US" sz="1000" b="1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Languages:</a:t>
            </a:r>
            <a:r>
              <a:rPr lang="en-US" sz="1000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	French (native), English (business fluent) </a:t>
            </a:r>
          </a:p>
          <a:p>
            <a:pPr marL="1074738" indent="-1074738">
              <a:tabLst>
                <a:tab pos="1074738" algn="l"/>
              </a:tabLst>
            </a:pPr>
            <a:r>
              <a:rPr lang="en-US" sz="1000" b="1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Education:</a:t>
            </a:r>
            <a:r>
              <a:rPr lang="en-US" sz="1000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	</a:t>
            </a:r>
            <a:r>
              <a:rPr lang="en-GB" sz="1000"/>
              <a:t>Master’s degree of Management with honours (Paris X)</a:t>
            </a:r>
          </a:p>
          <a:p>
            <a:pPr marL="1074738" indent="-1074738">
              <a:spcAft>
                <a:spcPts val="400"/>
              </a:spcAft>
              <a:tabLst>
                <a:tab pos="1074738" algn="l"/>
              </a:tabLst>
            </a:pPr>
            <a:r>
              <a:rPr lang="en-GB" sz="1000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	</a:t>
            </a:r>
            <a:r>
              <a:rPr lang="en-GB" sz="1000"/>
              <a:t>Technological University degree - Companies and Administration Management (Paris V)</a:t>
            </a:r>
          </a:p>
          <a:p>
            <a:pPr marL="1074738" indent="-1074738">
              <a:spcAft>
                <a:spcPts val="600"/>
              </a:spcAft>
              <a:tabLst>
                <a:tab pos="1074738" algn="l"/>
              </a:tabLst>
            </a:pPr>
            <a:r>
              <a:rPr lang="de-DE" sz="1000">
                <a:solidFill>
                  <a:srgbClr val="000000"/>
                </a:solidFill>
                <a:latin typeface="Lucida Sans" pitchFamily="34" charset="0"/>
                <a:cs typeface="Arial" pitchFamily="34" charset="0"/>
              </a:rPr>
              <a:t>	</a:t>
            </a:r>
            <a:r>
              <a:rPr lang="de-DE" sz="1000"/>
              <a:t>SAP Trainings in ABAP, SRM, MM, SAP Sourcing, FI, PP, RE-FX</a:t>
            </a:r>
            <a:endParaRPr lang="en-US" sz="1000"/>
          </a:p>
        </p:txBody>
      </p:sp>
      <p:sp>
        <p:nvSpPr>
          <p:cNvPr id="77831" name="Rectangle 13"/>
          <p:cNvSpPr>
            <a:spLocks noChangeArrowheads="1"/>
          </p:cNvSpPr>
          <p:nvPr/>
        </p:nvSpPr>
        <p:spPr bwMode="auto">
          <a:xfrm>
            <a:off x="1547813" y="1665288"/>
            <a:ext cx="7272337" cy="287337"/>
          </a:xfrm>
          <a:prstGeom prst="rect">
            <a:avLst/>
          </a:prstGeom>
          <a:solidFill>
            <a:srgbClr val="0066A2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0" rIns="0" bIns="0" anchor="ctr"/>
          <a:lstStyle/>
          <a:p>
            <a:r>
              <a:rPr lang="en-US" sz="1400">
                <a:solidFill>
                  <a:srgbClr val="FFFFFF"/>
                </a:solidFill>
                <a:latin typeface="Lucida Sans" pitchFamily="34" charset="0"/>
                <a:cs typeface="Arial" pitchFamily="34" charset="0"/>
              </a:rPr>
              <a:t>Core Competence</a:t>
            </a:r>
          </a:p>
        </p:txBody>
      </p:sp>
      <p:grpSp>
        <p:nvGrpSpPr>
          <p:cNvPr id="77832" name="Group 11"/>
          <p:cNvGrpSpPr>
            <a:grpSpLocks/>
          </p:cNvGrpSpPr>
          <p:nvPr/>
        </p:nvGrpSpPr>
        <p:grpSpPr bwMode="auto">
          <a:xfrm>
            <a:off x="322263" y="1665288"/>
            <a:ext cx="1122362" cy="1620837"/>
            <a:chOff x="1691680" y="1628800"/>
            <a:chExt cx="1260000" cy="1620000"/>
          </a:xfrm>
        </p:grpSpPr>
        <p:sp>
          <p:nvSpPr>
            <p:cNvPr id="77835" name="Rectangle 12"/>
            <p:cNvSpPr>
              <a:spLocks noChangeArrowheads="1"/>
            </p:cNvSpPr>
            <p:nvPr/>
          </p:nvSpPr>
          <p:spPr bwMode="auto">
            <a:xfrm>
              <a:off x="1691680" y="1628800"/>
              <a:ext cx="1260000" cy="1620000"/>
            </a:xfrm>
            <a:prstGeom prst="rect">
              <a:avLst/>
            </a:prstGeom>
            <a:solidFill>
              <a:schemeClr val="bg2"/>
            </a:solidFill>
            <a:ln w="317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836" name="TextBox 13"/>
            <p:cNvSpPr txBox="1">
              <a:spLocks noChangeArrowheads="1"/>
            </p:cNvSpPr>
            <p:nvPr/>
          </p:nvSpPr>
          <p:spPr bwMode="auto">
            <a:xfrm rot="-3360000">
              <a:off x="1663001" y="2149300"/>
              <a:ext cx="1328052" cy="461585"/>
            </a:xfrm>
            <a:prstGeom prst="rect">
              <a:avLst/>
            </a:prstGeom>
            <a:noFill/>
            <a:ln w="317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algn="ctr" eaLnBrk="1" hangingPunct="1"/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Foto Size</a:t>
              </a:r>
            </a:p>
            <a:p>
              <a:pPr algn="ctr" eaLnBrk="1" hangingPunct="1"/>
              <a:r>
                <a:rPr lang="en-US"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45 mm x 35 mm</a:t>
              </a:r>
            </a:p>
          </p:txBody>
        </p:sp>
      </p:grpSp>
      <p:sp>
        <p:nvSpPr>
          <p:cNvPr id="77833" name="Rectangle 11"/>
          <p:cNvSpPr>
            <a:spLocks noChangeArrowheads="1"/>
          </p:cNvSpPr>
          <p:nvPr/>
        </p:nvSpPr>
        <p:spPr bwMode="auto">
          <a:xfrm>
            <a:off x="4589463" y="3321050"/>
            <a:ext cx="4230687" cy="287338"/>
          </a:xfrm>
          <a:prstGeom prst="rect">
            <a:avLst/>
          </a:prstGeom>
          <a:solidFill>
            <a:srgbClr val="0066A2"/>
          </a:solidFill>
          <a:ln w="3175" algn="ctr">
            <a:solidFill>
              <a:schemeClr val="tx1"/>
            </a:solidFill>
            <a:round/>
            <a:headEnd/>
            <a:tailEnd/>
          </a:ln>
        </p:spPr>
        <p:txBody>
          <a:bodyPr wrap="none" lIns="72000" tIns="0" rIns="0" bIns="0" anchor="ctr"/>
          <a:lstStyle/>
          <a:p>
            <a:r>
              <a:rPr lang="en-US" sz="1400">
                <a:solidFill>
                  <a:srgbClr val="FFFFFF"/>
                </a:solidFill>
                <a:latin typeface="Lucida Sans" pitchFamily="34" charset="0"/>
                <a:cs typeface="Arial" pitchFamily="34" charset="0"/>
              </a:rPr>
              <a:t>Relevant Experience</a:t>
            </a:r>
          </a:p>
        </p:txBody>
      </p:sp>
      <p:pic>
        <p:nvPicPr>
          <p:cNvPr id="77834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14" t="4893" r="24916" b="9789"/>
          <a:stretch>
            <a:fillRect/>
          </a:stretch>
        </p:blipFill>
        <p:spPr bwMode="auto">
          <a:xfrm>
            <a:off x="336550" y="1676400"/>
            <a:ext cx="1108075" cy="160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PWfIRaEWg4sm0nGKX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CZcaRON0G.nWczONZe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Af2G0E80.FhuLbuLDX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d4.0ClJEGAPnZTzcAS2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lERYR89kCg8djYIGml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e1LjVCjEK3THK.MhHx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KaAGnPf0CHefluKVuF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OA7J0EBEudL7WZS_kC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xeWkaHE0O9WVxKGmq3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EZVGWKuU2Rhjblx9td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lpSXRob0uXZijFcloY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.3cuHiLkakEZW1Y11u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1VFO7yo0.vHu0XwqVM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lBUOq3I06JNFDplgb5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paBG98VkyJtK7e4mF6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KXZtoZYUepU5FgZpb2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5rgcpPzkmC7O2IdA.o1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t1fjtGTkOZSyR0dZ498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Alf7IJEU6BzXVvxHql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hWfCHVzk6EMiryGvsw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_I6eEIl0uzncnd78mH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Tfqc2kYkqZrRjoHtjW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h6.K8BGEy3zUda8Bnq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XHjzVwH0Cc42fpI0Rq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KaAGnPf0CHefluKVuF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FX8UTsYE2eVtzK94.9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7EWNawJEuzRZKTUwRH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IlQyv.kauUZOu7NLj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37P6d.mk2kxdoYOTWs4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32BLAl3EyFT7OHc1MUj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QPAchVWUOlBXkyIps4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3F81RB.0q1gIqgJW8k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yssCg1CEqp7FegtZUX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ntGoDsgkGXGuc5ibcr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_80hLNEe3JyW51DGr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g4dB0KpUeyvvx1lxOM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_yi5wAokmpu1Yrgq0c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zxpsSAzEeuXE2lTve1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_H9I2rX0GniTmh2tSz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1MgzUxpkGBcv.dXvSK4w"/>
</p:tagLst>
</file>

<file path=ppt/theme/theme1.xml><?xml version="1.0" encoding="utf-8"?>
<a:theme xmlns:a="http://schemas.openxmlformats.org/drawingml/2006/main" name="2_Atos PPT v3.0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">
      <a:majorFont>
        <a:latin typeface="Lucida Sans"/>
        <a:ea typeface=""/>
        <a:cs typeface=""/>
      </a:majorFont>
      <a:minorFont>
        <a:latin typeface="Lucid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tos Title &amp; Text blue line top">
  <a:themeElements>
    <a:clrScheme name="Atos Title &amp; Text blue line top 1">
      <a:dk1>
        <a:srgbClr val="000000"/>
      </a:dk1>
      <a:lt1>
        <a:srgbClr val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FFFFFF"/>
      </a:accent3>
      <a:accent4>
        <a:srgbClr val="000000"/>
      </a:accent4>
      <a:accent5>
        <a:srgbClr val="AAB8CD"/>
      </a:accent5>
      <a:accent6>
        <a:srgbClr val="758EB4"/>
      </a:accent6>
      <a:hlink>
        <a:srgbClr val="0066A1"/>
      </a:hlink>
      <a:folHlink>
        <a:srgbClr val="829DC7"/>
      </a:folHlink>
    </a:clrScheme>
    <a:fontScheme name="Atos Title &amp; Text blue line top">
      <a:majorFont>
        <a:latin typeface="Lucida Sans"/>
        <a:ea typeface="ＭＳ Ｐゴシック"/>
        <a:cs typeface="Arial"/>
      </a:majorFont>
      <a:minorFont>
        <a:latin typeface="Lucida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tos Title &amp; Text blue line top 1">
        <a:dk1>
          <a:srgbClr val="000000"/>
        </a:dk1>
        <a:lt1>
          <a:srgbClr val="FFFFFF"/>
        </a:lt1>
        <a:dk2>
          <a:srgbClr val="0066A1"/>
        </a:dk2>
        <a:lt2>
          <a:srgbClr val="829DC7"/>
        </a:lt2>
        <a:accent1>
          <a:srgbClr val="0066A1"/>
        </a:accent1>
        <a:accent2>
          <a:srgbClr val="829DC7"/>
        </a:accent2>
        <a:accent3>
          <a:srgbClr val="FFFFFF"/>
        </a:accent3>
        <a:accent4>
          <a:srgbClr val="000000"/>
        </a:accent4>
        <a:accent5>
          <a:srgbClr val="AAB8CD"/>
        </a:accent5>
        <a:accent6>
          <a:srgbClr val="758EB4"/>
        </a:accent6>
        <a:hlink>
          <a:srgbClr val="0066A1"/>
        </a:hlink>
        <a:folHlink>
          <a:srgbClr val="829D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tos Title &amp; Text Visual left side">
  <a:themeElements>
    <a:clrScheme name="Atos Title &amp; Text Visual left side 1">
      <a:dk1>
        <a:srgbClr val="000000"/>
      </a:dk1>
      <a:lt1>
        <a:srgbClr val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FFFFFF"/>
      </a:accent3>
      <a:accent4>
        <a:srgbClr val="000000"/>
      </a:accent4>
      <a:accent5>
        <a:srgbClr val="AAB8CD"/>
      </a:accent5>
      <a:accent6>
        <a:srgbClr val="758EB4"/>
      </a:accent6>
      <a:hlink>
        <a:srgbClr val="0066A1"/>
      </a:hlink>
      <a:folHlink>
        <a:srgbClr val="829DC7"/>
      </a:folHlink>
    </a:clrScheme>
    <a:fontScheme name="Atos Title &amp; Text Visual left side">
      <a:majorFont>
        <a:latin typeface="Lucida Sans"/>
        <a:ea typeface=""/>
        <a:cs typeface="Arial"/>
      </a:majorFont>
      <a:minorFont>
        <a:latin typeface="Lucida San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tos Title &amp; Text Visual left side 1">
        <a:dk1>
          <a:srgbClr val="000000"/>
        </a:dk1>
        <a:lt1>
          <a:srgbClr val="FFFFFF"/>
        </a:lt1>
        <a:dk2>
          <a:srgbClr val="0066A1"/>
        </a:dk2>
        <a:lt2>
          <a:srgbClr val="829DC7"/>
        </a:lt2>
        <a:accent1>
          <a:srgbClr val="0066A1"/>
        </a:accent1>
        <a:accent2>
          <a:srgbClr val="829DC7"/>
        </a:accent2>
        <a:accent3>
          <a:srgbClr val="FFFFFF"/>
        </a:accent3>
        <a:accent4>
          <a:srgbClr val="000000"/>
        </a:accent4>
        <a:accent5>
          <a:srgbClr val="AAB8CD"/>
        </a:accent5>
        <a:accent6>
          <a:srgbClr val="758EB4"/>
        </a:accent6>
        <a:hlink>
          <a:srgbClr val="0066A1"/>
        </a:hlink>
        <a:folHlink>
          <a:srgbClr val="829D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tos Title &amp; Text blue line top">
  <a:themeElements>
    <a:clrScheme name="Atos Title &amp; Text blue line top 1">
      <a:dk1>
        <a:srgbClr val="000000"/>
      </a:dk1>
      <a:lt1>
        <a:srgbClr val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FFFFFF"/>
      </a:accent3>
      <a:accent4>
        <a:srgbClr val="000000"/>
      </a:accent4>
      <a:accent5>
        <a:srgbClr val="AAB8CD"/>
      </a:accent5>
      <a:accent6>
        <a:srgbClr val="758EB4"/>
      </a:accent6>
      <a:hlink>
        <a:srgbClr val="0066A1"/>
      </a:hlink>
      <a:folHlink>
        <a:srgbClr val="829DC7"/>
      </a:folHlink>
    </a:clrScheme>
    <a:fontScheme name="Atos Title &amp; Text blue line top">
      <a:majorFont>
        <a:latin typeface="Lucida Sans"/>
        <a:ea typeface="MS PGothic"/>
        <a:cs typeface="Arial"/>
      </a:majorFont>
      <a:minorFont>
        <a:latin typeface="Lucida Sans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Lucida Sans" pitchFamily="34" charset="0"/>
            <a:ea typeface="MS PGothic" pitchFamily="34" charset="-128"/>
          </a:defRPr>
        </a:defPPr>
      </a:lstStyle>
    </a:lnDef>
  </a:objectDefaults>
  <a:extraClrSchemeLst>
    <a:extraClrScheme>
      <a:clrScheme name="Atos Title &amp; Text blue line top 1">
        <a:dk1>
          <a:srgbClr val="000000"/>
        </a:dk1>
        <a:lt1>
          <a:srgbClr val="FFFFFF"/>
        </a:lt1>
        <a:dk2>
          <a:srgbClr val="0066A1"/>
        </a:dk2>
        <a:lt2>
          <a:srgbClr val="829DC7"/>
        </a:lt2>
        <a:accent1>
          <a:srgbClr val="0066A1"/>
        </a:accent1>
        <a:accent2>
          <a:srgbClr val="829DC7"/>
        </a:accent2>
        <a:accent3>
          <a:srgbClr val="FFFFFF"/>
        </a:accent3>
        <a:accent4>
          <a:srgbClr val="000000"/>
        </a:accent4>
        <a:accent5>
          <a:srgbClr val="AAB8CD"/>
        </a:accent5>
        <a:accent6>
          <a:srgbClr val="758EB4"/>
        </a:accent6>
        <a:hlink>
          <a:srgbClr val="0066A1"/>
        </a:hlink>
        <a:folHlink>
          <a:srgbClr val="829D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Atos Title &amp; Text Visual left side">
  <a:themeElements>
    <a:clrScheme name="Atos Title &amp; Text Visual left side 1">
      <a:dk1>
        <a:srgbClr val="000000"/>
      </a:dk1>
      <a:lt1>
        <a:srgbClr val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FFFFFF"/>
      </a:accent3>
      <a:accent4>
        <a:srgbClr val="000000"/>
      </a:accent4>
      <a:accent5>
        <a:srgbClr val="AAB8CD"/>
      </a:accent5>
      <a:accent6>
        <a:srgbClr val="758EB4"/>
      </a:accent6>
      <a:hlink>
        <a:srgbClr val="0066A1"/>
      </a:hlink>
      <a:folHlink>
        <a:srgbClr val="829DC7"/>
      </a:folHlink>
    </a:clrScheme>
    <a:fontScheme name="Atos Title &amp; Text Visual left side">
      <a:majorFont>
        <a:latin typeface="Lucida Sans"/>
        <a:ea typeface=""/>
        <a:cs typeface="Arial"/>
      </a:majorFont>
      <a:minorFont>
        <a:latin typeface="Lucida San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tos Title &amp; Text Visual left side 1">
        <a:dk1>
          <a:srgbClr val="000000"/>
        </a:dk1>
        <a:lt1>
          <a:srgbClr val="FFFFFF"/>
        </a:lt1>
        <a:dk2>
          <a:srgbClr val="0066A1"/>
        </a:dk2>
        <a:lt2>
          <a:srgbClr val="829DC7"/>
        </a:lt2>
        <a:accent1>
          <a:srgbClr val="0066A1"/>
        </a:accent1>
        <a:accent2>
          <a:srgbClr val="829DC7"/>
        </a:accent2>
        <a:accent3>
          <a:srgbClr val="FFFFFF"/>
        </a:accent3>
        <a:accent4>
          <a:srgbClr val="000000"/>
        </a:accent4>
        <a:accent5>
          <a:srgbClr val="AAB8CD"/>
        </a:accent5>
        <a:accent6>
          <a:srgbClr val="758EB4"/>
        </a:accent6>
        <a:hlink>
          <a:srgbClr val="0066A1"/>
        </a:hlink>
        <a:folHlink>
          <a:srgbClr val="829D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Atos Corporate PPT Draft v0.92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">
      <a:majorFont>
        <a:latin typeface="Lucida Sans"/>
        <a:ea typeface=""/>
        <a:cs typeface=""/>
      </a:majorFont>
      <a:minorFont>
        <a:latin typeface="Lucid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>
        <a:noAutofit/>
      </a:bodyPr>
      <a:lstStyle>
        <a:defPPr>
          <a:defRPr sz="3200" dirty="0" smtClean="0">
            <a:solidFill>
              <a:srgbClr val="829DC7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Atos Content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</TotalTime>
  <Words>230</Words>
  <Application>Microsoft Office PowerPoint</Application>
  <PresentationFormat>Affichage à l'écran (4:3)</PresentationFormat>
  <Paragraphs>29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7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9" baseType="lpstr">
      <vt:lpstr>2_Atos PPT v3.0</vt:lpstr>
      <vt:lpstr>1_Atos Title &amp; Text blue line top</vt:lpstr>
      <vt:lpstr>Atos Title &amp; Text Visual left side</vt:lpstr>
      <vt:lpstr>Atos Title &amp; Text blue line top</vt:lpstr>
      <vt:lpstr>2_Atos Title &amp; Text Visual left side</vt:lpstr>
      <vt:lpstr>5_Atos Corporate PPT Draft v0.92</vt:lpstr>
      <vt:lpstr>Atos Content Master</vt:lpstr>
      <vt:lpstr>think-cell Slide</vt:lpstr>
      <vt:lpstr>Cesar Mical – SAP MM Consultant </vt:lpstr>
    </vt:vector>
  </TitlesOfParts>
  <Company>Ato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for Today</dc:title>
  <dc:creator>Bauer, Sandra</dc:creator>
  <cp:lastModifiedBy>MARTIN, PATRICIA</cp:lastModifiedBy>
  <cp:revision>17</cp:revision>
  <dcterms:created xsi:type="dcterms:W3CDTF">2013-03-08T09:20:14Z</dcterms:created>
  <dcterms:modified xsi:type="dcterms:W3CDTF">2013-06-25T16:29:14Z</dcterms:modified>
</cp:coreProperties>
</file>